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56" r:id="rId2"/>
  </p:sldIdLst>
  <p:sldSz cx="9144000" cy="6858000" type="screen4x3"/>
  <p:notesSz cx="6808788" cy="99409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00"/>
    <a:srgbClr val="FF6600"/>
    <a:srgbClr val="0B90BF"/>
    <a:srgbClr val="333399"/>
    <a:srgbClr val="66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10" d="100"/>
          <a:sy n="110" d="100"/>
        </p:scale>
        <p:origin x="1644" y="10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6738" y="0"/>
            <a:ext cx="2950475" cy="497046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>
              <a:defRPr sz="1200"/>
            </a:lvl1pPr>
          </a:lstStyle>
          <a:p>
            <a:fld id="{5CB71326-5A66-4047-8E6F-466ACF3D2997}" type="datetimeFigureOut">
              <a:rPr lang="ru-RU" smtClean="0"/>
              <a:pPr/>
              <a:t>17.09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6125"/>
            <a:ext cx="4970462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77" tIns="45789" rIns="91577" bIns="45789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880" y="4721940"/>
            <a:ext cx="5447030" cy="4473416"/>
          </a:xfrm>
          <a:prstGeom prst="rect">
            <a:avLst/>
          </a:prstGeom>
        </p:spPr>
        <p:txBody>
          <a:bodyPr vert="horz" lIns="91577" tIns="45789" rIns="91577" bIns="45789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2153"/>
            <a:ext cx="2950475" cy="497046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6738" y="9442153"/>
            <a:ext cx="2950475" cy="497046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>
              <a:defRPr sz="1200"/>
            </a:lvl1pPr>
          </a:lstStyle>
          <a:p>
            <a:fld id="{4D125163-8B83-4ADF-8AB7-6C2FDB91F6C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719181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71575" y="1244600"/>
            <a:ext cx="4465638" cy="33480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FDC95A-E73C-4092-8ABF-AE007264C1A2}" type="slidenum">
              <a:rPr lang="en-GB" smtClean="0">
                <a:solidFill>
                  <a:prstClr val="black"/>
                </a:solidFill>
              </a:rPr>
              <a:pPr/>
              <a:t>1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72564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7.09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7.09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7.09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Номер слайда 2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02C252-D258-485D-B551-BAAD5DA64259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7624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7.09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7.09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7.09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7.09.202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7.09.20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7.09.202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7.09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7.09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106E36-FD25-4E2D-B0AA-010F637433A0}" type="datetimeFigureOut">
              <a:rPr lang="ru-RU" smtClean="0"/>
              <a:pPr/>
              <a:t>17.09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9EAC4781-456F-478B-B0A5-74814EB39A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3907" y="1157"/>
          <a:ext cx="851" cy="11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3907" y="1157"/>
                        <a:ext cx="851" cy="113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xmlns="" id="{EA61ADFC-61B4-422B-BB74-F16AE85C7AB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43128" y="2"/>
            <a:ext cx="85045" cy="11339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70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13" name="Заголовок 1">
            <a:extLst>
              <a:ext uri="{FF2B5EF4-FFF2-40B4-BE49-F238E27FC236}">
                <a16:creationId xmlns:a16="http://schemas.microsoft.com/office/drawing/2014/main" xmlns="" id="{116963A7-BC97-48B9-8DF6-0262C0929D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504" y="142852"/>
            <a:ext cx="8893652" cy="935534"/>
          </a:xfrm>
        </p:spPr>
        <p:txBody>
          <a:bodyPr>
            <a:noAutofit/>
          </a:bodyPr>
          <a:lstStyle/>
          <a:p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ЙТИНГ МУНИЦИПАЛЬНЫХ ОБРАЗОВАНИЙ ПО УРОВНЮ ОТКРЫТОСТИ БЮДЖЕТНЫХ ДАННЫХ ЗА </a:t>
            </a:r>
            <a:r>
              <a:rPr lang="en-US" sz="20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ОЛУГОДИЕ 2025 ГОДА</a:t>
            </a:r>
          </a:p>
        </p:txBody>
      </p:sp>
      <p:sp>
        <p:nvSpPr>
          <p:cNvPr id="29" name="Slide Number Placeholder 2">
            <a:extLst>
              <a:ext uri="{FF2B5EF4-FFF2-40B4-BE49-F238E27FC236}">
                <a16:creationId xmlns:a16="http://schemas.microsoft.com/office/drawing/2014/main" xmlns="" id="{A3562278-64DB-48FE-8465-6EA8171C0F4A}"/>
              </a:ext>
            </a:extLst>
          </p:cNvPr>
          <p:cNvSpPr txBox="1">
            <a:spLocks/>
          </p:cNvSpPr>
          <p:nvPr/>
        </p:nvSpPr>
        <p:spPr>
          <a:xfrm>
            <a:off x="8722703" y="6503967"/>
            <a:ext cx="400050" cy="365125"/>
          </a:xfrm>
          <a:prstGeom prst="rect">
            <a:avLst/>
          </a:prstGeom>
        </p:spPr>
        <p:txBody>
          <a:bodyPr vert="horz" lIns="76635" tIns="38318" rIns="76635" bIns="38318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i="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600" b="1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extBox 1"/>
          <p:cNvSpPr txBox="1"/>
          <p:nvPr/>
        </p:nvSpPr>
        <p:spPr>
          <a:xfrm>
            <a:off x="4690361" y="3974648"/>
            <a:ext cx="3818374" cy="1835348"/>
          </a:xfrm>
          <a:prstGeom prst="rect">
            <a:avLst/>
          </a:prstGeom>
        </p:spPr>
        <p:txBody>
          <a:bodyPr wrap="square" lIns="54768" tIns="27384" rIns="54768" bIns="27384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273071">
              <a:spcAft>
                <a:spcPts val="360"/>
              </a:spcAft>
            </a:pPr>
            <a:endParaRPr lang="ru-RU" sz="1200" dirty="0">
              <a:solidFill>
                <a:srgbClr val="AD0101"/>
              </a:solidFill>
            </a:endParaRPr>
          </a:p>
          <a:p>
            <a:pPr algn="ctr" defTabSz="273071">
              <a:spcAft>
                <a:spcPts val="360"/>
              </a:spcAft>
            </a:pPr>
            <a:endParaRPr lang="ru-RU" sz="1200" dirty="0">
              <a:solidFill>
                <a:srgbClr val="AD0101"/>
              </a:solidFill>
            </a:endParaRPr>
          </a:p>
          <a:p>
            <a:pPr algn="ctr" defTabSz="273071">
              <a:spcAft>
                <a:spcPts val="360"/>
              </a:spcAft>
            </a:pPr>
            <a:endParaRPr lang="ru-RU" sz="1200" dirty="0">
              <a:solidFill>
                <a:srgbClr val="AD0101"/>
              </a:solidFill>
            </a:endParaRPr>
          </a:p>
        </p:txBody>
      </p:sp>
      <p:sp>
        <p:nvSpPr>
          <p:cNvPr id="11" name="Прямоугольник с двумя скругленными противолежащими углами 10"/>
          <p:cNvSpPr/>
          <p:nvPr/>
        </p:nvSpPr>
        <p:spPr>
          <a:xfrm>
            <a:off x="460728" y="1296827"/>
            <a:ext cx="3117578" cy="5040611"/>
          </a:xfrm>
          <a:prstGeom prst="round2Diag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768" tIns="27384" rIns="54768" bIns="27384" rtlCol="0" anchor="t" anchorCtr="0"/>
          <a:lstStyle/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ОКИЙ УРОВЕНЬ ОТКРЫТОСТИ</a:t>
            </a:r>
          </a:p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4 МО:</a:t>
            </a:r>
          </a:p>
          <a:p>
            <a:pPr algn="ctr" defTabSz="273071"/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ександрово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Заводский</a:t>
            </a: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байкальский</a:t>
            </a: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ларский</a:t>
            </a:r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рымский</a:t>
            </a:r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ыринский</a:t>
            </a:r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гочинский</a:t>
            </a:r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ловяннинский</a:t>
            </a:r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нонский</a:t>
            </a:r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тенский</a:t>
            </a: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нгокоченский</a:t>
            </a:r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илокский</a:t>
            </a:r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лопугинский</a:t>
            </a:r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. Агинское </a:t>
            </a: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 Чита</a:t>
            </a:r>
          </a:p>
          <a:p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9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Прямоугольник с двумя скругленными противолежащими углами 16"/>
          <p:cNvSpPr/>
          <p:nvPr/>
        </p:nvSpPr>
        <p:spPr>
          <a:xfrm>
            <a:off x="6660232" y="1296827"/>
            <a:ext cx="2188832" cy="5014910"/>
          </a:xfrm>
          <a:prstGeom prst="round2DiagRect">
            <a:avLst/>
          </a:prstGeom>
          <a:solidFill>
            <a:srgbClr val="FF3300">
              <a:alpha val="8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768" tIns="27384" rIns="54768" bIns="27384" rtlCol="0" anchor="t" anchorCtr="0"/>
          <a:lstStyle/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ИЗКИЙ  УРОВЕНЬ ОТКРЫТОСТИ</a:t>
            </a:r>
            <a: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</a:t>
            </a:r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:</a:t>
            </a: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ctr" defTabSz="273071">
              <a:buFont typeface="Wingdings" panose="05000000000000000000" pitchFamily="2" charset="2"/>
              <a:buChar char="ü"/>
            </a:pPr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лганский </a:t>
            </a:r>
          </a:p>
        </p:txBody>
      </p:sp>
      <p:sp>
        <p:nvSpPr>
          <p:cNvPr id="19" name="Прямоугольник с двумя скругленными противолежащими углами 18"/>
          <p:cNvSpPr/>
          <p:nvPr/>
        </p:nvSpPr>
        <p:spPr>
          <a:xfrm>
            <a:off x="3707904" y="1296827"/>
            <a:ext cx="2808312" cy="5040612"/>
          </a:xfrm>
          <a:prstGeom prst="round2DiagRect">
            <a:avLst/>
          </a:prstGeom>
          <a:solidFill>
            <a:srgbClr val="FFC000"/>
          </a:solidFill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768" tIns="27384" rIns="54768" bIns="27384" rtlCol="0" anchor="ctr"/>
          <a:lstStyle/>
          <a:p>
            <a:pPr algn="ctr" defTabSz="273071"/>
            <a:endParaRPr lang="ru-RU" sz="5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5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r>
              <a:rPr lang="ru-RU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ИЙ УРОВЕНЬ ОТКРЫТОСТИ</a:t>
            </a:r>
          </a:p>
          <a:p>
            <a:pPr algn="ctr" defTabSz="273071"/>
            <a:r>
              <a:rPr lang="ru-RU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 МО:</a:t>
            </a:r>
          </a:p>
          <a:p>
            <a:pPr algn="ctr" defTabSz="273071"/>
            <a:endParaRPr lang="ru-RU" sz="5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гинский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шин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лейский</a:t>
            </a: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рзин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азимуро</a:t>
            </a: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Заводский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ульдургин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аснокаменский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асночикой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гойтуй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рчинский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рчинско</a:t>
            </a: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Заводский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тровск-Забайкальский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аргунский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нгиро-Олёкмин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лётов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ернышевский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итинский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илкин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. Горный ЗАТО</a:t>
            </a:r>
          </a:p>
          <a:p>
            <a:pPr marL="357187" defTabSz="273071"/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44224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VnPXHhtzp9iA99fNcWy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38</TotalTime>
  <Words>74</Words>
  <Application>Microsoft Office PowerPoint</Application>
  <PresentationFormat>Экран (4:3)</PresentationFormat>
  <Paragraphs>57</Paragraphs>
  <Slides>1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6" baseType="lpstr">
      <vt:lpstr>Arial</vt:lpstr>
      <vt:lpstr>Calibri</vt:lpstr>
      <vt:lpstr>Wingdings</vt:lpstr>
      <vt:lpstr>Тема Office</vt:lpstr>
      <vt:lpstr>think-cell Slide</vt:lpstr>
      <vt:lpstr>РЕЙТИНГ МУНИЦИПАЛЬНЫХ ОБРАЗОВАНИЙ ПО УРОВНЮ ОТКРЫТОСТИ БЮДЖЕТНЫХ ДАННЫХ ЗА I ПОЛУГОДИЕ 2025 ГОДА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РЕЙТИНГ УРОВНЯ ОТКРЫТОСТИ БЮДЖЕТНЫХ ДАННЫХ МУНИЦИПАЛЬНЫХ ОБРАЗОВАНИЙ ЗА 2021</dc:title>
  <dc:creator>Макарова Дарья Сергеевна</dc:creator>
  <cp:lastModifiedBy>admin</cp:lastModifiedBy>
  <cp:revision>31</cp:revision>
  <cp:lastPrinted>2025-08-13T00:29:23Z</cp:lastPrinted>
  <dcterms:created xsi:type="dcterms:W3CDTF">2022-06-27T05:53:54Z</dcterms:created>
  <dcterms:modified xsi:type="dcterms:W3CDTF">2025-09-17T06:50:59Z</dcterms:modified>
</cp:coreProperties>
</file>